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  <p:sldId id="257" r:id="rId3"/>
  </p:sldIdLst>
  <p:sldSz cx="12192000" cy="6858000"/>
  <p:notesSz cx="6858000" cy="9144000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E5252"/>
    <a:srgbClr val="A6A7AA"/>
    <a:srgbClr val="879098"/>
    <a:srgbClr val="5A5D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94"/>
  </p:normalViewPr>
  <p:slideViewPr>
    <p:cSldViewPr snapToGrid="0">
      <p:cViewPr varScale="1">
        <p:scale>
          <a:sx n="117" d="100"/>
          <a:sy n="117" d="100"/>
        </p:scale>
        <p:origin x="264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2E7C51-37AF-EAD5-1A3E-204CBDA894E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8A2E5A5-6466-62DE-9068-4CDB0169961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9F7A44-8B3F-066F-6115-A4F9C2C9ED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670F79-C315-074C-8F40-6585CB74F395}" type="datetimeFigureOut">
              <a:rPr lang="en-US" smtClean="0"/>
              <a:t>8/14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29062E-19A9-64BF-62FE-0DFA9D8386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272E2A-C007-A80C-8196-474CE446BA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D00340-CB84-6443-8D0F-435C2CA492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06335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0FA869-1C59-8B65-D9CC-3D663AC50C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15A2BF3-9D04-6761-B325-BB66838135A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C942AEC-0CD9-A6A0-1529-94842647F4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670F79-C315-074C-8F40-6585CB74F395}" type="datetimeFigureOut">
              <a:rPr lang="en-US" smtClean="0"/>
              <a:t>8/14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BD217F-42CC-ACF9-4D67-1732EABB54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2F29F7-0C20-7D5A-4787-CF49689AF1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D00340-CB84-6443-8D0F-435C2CA492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7967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D174F42-9FC6-8F4C-B64B-646F7632EB3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A3488AF-ED7B-3181-AA9C-D9EEEA6EDE5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EEF073-55F6-EA2C-D458-5C5D510F7D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670F79-C315-074C-8F40-6585CB74F395}" type="datetimeFigureOut">
              <a:rPr lang="en-US" smtClean="0"/>
              <a:t>8/14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743C57-C6DF-1F98-1C67-276DD33809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75F410-BB33-BD01-1576-AEBCC16A5B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D00340-CB84-6443-8D0F-435C2CA492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31786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C5CF31-E283-DE09-D022-CF28FF91E5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6B7613-AD14-A97D-9327-F9587383678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9B9EE4-D9F9-1EF7-F94B-81EB5B7D16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670F79-C315-074C-8F40-6585CB74F395}" type="datetimeFigureOut">
              <a:rPr lang="en-US" smtClean="0"/>
              <a:t>8/14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203543-F17A-6C6D-F0CC-3763D071A6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7AB808-D003-E7CF-84D9-66BCF07599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D00340-CB84-6443-8D0F-435C2CA492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82655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F6EC7D-3349-2315-6AB9-7F364B0F3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07EC9E-8864-6771-F8F2-0088411CDF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54974B-2DF3-57F7-977F-69CEE2CE1F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670F79-C315-074C-8F40-6585CB74F395}" type="datetimeFigureOut">
              <a:rPr lang="en-US" smtClean="0"/>
              <a:t>8/14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2ADD9C-B099-EF7F-93EC-A91E7D97BA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D2F1D3-DDBA-3FF8-CB39-DBC6009E20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D00340-CB84-6443-8D0F-435C2CA492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58169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F12A5F-EBC1-3ACC-E4D3-9EE97DC708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25F791D-9322-DBE8-CDC6-852576EAE5C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D946422-B8FB-CC29-D8BC-BADD279AB2F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E84AB21-5656-0A41-4C75-BB71B37A3D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670F79-C315-074C-8F40-6585CB74F395}" type="datetimeFigureOut">
              <a:rPr lang="en-US" smtClean="0"/>
              <a:t>8/14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9E6B7C-DC12-71F8-B586-99143CFA29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4AA3163-3181-68DC-2C1C-48BF6FFB05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D00340-CB84-6443-8D0F-435C2CA492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4125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1F12C5-6155-246A-9277-93282AFE2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A92A90-6F8A-C9C4-8FEE-95A8E44843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14A17B2-5361-31F3-C698-5794217B6B0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5F3DEF-9299-D813-20E4-ADCE4EFE27D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FF74CD6-D4B4-8865-1798-76A5F6D7EF6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E39265B-5F4F-3588-DF97-0BBD111A6E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670F79-C315-074C-8F40-6585CB74F395}" type="datetimeFigureOut">
              <a:rPr lang="en-US" smtClean="0"/>
              <a:t>8/14/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96158D7-AC94-3603-E907-EEAC81F510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7CFC54-72E4-C9C9-8833-89F8100599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D00340-CB84-6443-8D0F-435C2CA492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08721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52D99F-481C-315A-03E0-B0768FC9EC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9C32075-F1D1-3FDB-E5EE-F6C44F9880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670F79-C315-074C-8F40-6585CB74F395}" type="datetimeFigureOut">
              <a:rPr lang="en-US" smtClean="0"/>
              <a:t>8/14/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789372-4426-7E0B-3A22-B0932F1179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1DA991-AD6A-895C-DE6F-4ABB7FF8F0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D00340-CB84-6443-8D0F-435C2CA492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00957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91326CD-84BC-7468-30D3-BD3BD0DF70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670F79-C315-074C-8F40-6585CB74F395}" type="datetimeFigureOut">
              <a:rPr lang="en-US" smtClean="0"/>
              <a:t>8/14/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60306E-D921-8A2C-AF1B-E6608BB102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F91E20-17A7-552D-5B8A-9800ABAEE5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D00340-CB84-6443-8D0F-435C2CA492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1389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810671-8BD8-C43F-811B-C06F27C043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75CE7E-512A-39C4-2041-C1453790B7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100DEF0-3A83-601B-BDC7-D4AADB89FF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C9E7D6-3885-975E-E0C5-D694B4416A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670F79-C315-074C-8F40-6585CB74F395}" type="datetimeFigureOut">
              <a:rPr lang="en-US" smtClean="0"/>
              <a:t>8/14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AE31DE7-3E61-855B-315F-5D7436C3A2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535970E-710A-3EE5-0EA9-7D1BC5C735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D00340-CB84-6443-8D0F-435C2CA492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99461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C032DF-13D7-AAE9-7558-8A86189544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AAD5A89-F1E3-5645-3B04-6438938C0DE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C5B7AF-4EE1-A49F-F394-2D58906680E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42C75CE-18E2-B667-FEE2-642EACC7D8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670F79-C315-074C-8F40-6585CB74F395}" type="datetimeFigureOut">
              <a:rPr lang="en-US" smtClean="0"/>
              <a:t>8/14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63C0B1C-C452-F459-DD41-054F6DFE83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465914-F97D-E59C-D6AB-0BD0FC6F33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D00340-CB84-6443-8D0F-435C2CA492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15444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B86F5E1-BCFE-6726-96CF-954F096554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23133364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CEC883-6D61-9928-7D56-F13F208388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F4A49E-D632-982B-C619-9B080D86C7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7ABCCD-DB02-9E0E-470A-98C10075ABA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9670F79-C315-074C-8F40-6585CB74F395}" type="datetimeFigureOut">
              <a:rPr lang="en-US" smtClean="0"/>
              <a:t>8/14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C0BEE0-F256-2419-8585-A61BBE6B8F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7F40E6-4972-8E7B-3EA6-92256317D2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D00340-CB84-6443-8D0F-435C2CA492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77053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89EEE47-6B81-3CEA-E90D-FB61FA4F4C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121107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D41BF025-14A7-04E8-080F-F3070C4E499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0"/>
            <a:ext cx="12192000" cy="6858000"/>
          </a:xfrm>
        </p:spPr>
        <p:txBody>
          <a:bodyPr wrap="square" lIns="0" tIns="0" rIns="0" bIns="0" anchor="ctr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5700" b="1" dirty="0">
                <a:solidFill>
                  <a:srgbClr val="879098"/>
                </a:solidFill>
                <a:latin typeface="Hind" panose="02000000000000000000" pitchFamily="2" charset="77"/>
                <a:cs typeface="Hind" panose="02000000000000000000" pitchFamily="2" charset="77"/>
              </a:rPr>
              <a:t>Paul Jordan</a:t>
            </a:r>
          </a:p>
        </p:txBody>
      </p:sp>
    </p:spTree>
    <p:extLst>
      <p:ext uri="{BB962C8B-B14F-4D97-AF65-F5344CB8AC3E}">
        <p14:creationId xmlns:p14="http://schemas.microsoft.com/office/powerpoint/2010/main" val="38819277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8910008-D265-88FB-C0FB-3259BAAB9E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644506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4BAF0C68-EC3B-A322-3942-5D1A783BBEF9}"/>
              </a:ext>
            </a:extLst>
          </p:cNvPr>
          <p:cNvSpPr/>
          <p:nvPr/>
        </p:nvSpPr>
        <p:spPr>
          <a:xfrm>
            <a:off x="1175657" y="1524000"/>
            <a:ext cx="1752600" cy="522514"/>
          </a:xfrm>
          <a:prstGeom prst="rect">
            <a:avLst/>
          </a:prstGeom>
          <a:solidFill>
            <a:srgbClr val="5A5D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5A5D6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EF47A34-00C1-F1B2-4BAE-733341A8649F}"/>
              </a:ext>
            </a:extLst>
          </p:cNvPr>
          <p:cNvSpPr/>
          <p:nvPr/>
        </p:nvSpPr>
        <p:spPr>
          <a:xfrm>
            <a:off x="1175657" y="2144485"/>
            <a:ext cx="1752600" cy="522514"/>
          </a:xfrm>
          <a:prstGeom prst="rect">
            <a:avLst/>
          </a:prstGeom>
          <a:solidFill>
            <a:srgbClr val="8790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Company Logo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ED4BE36-434D-6361-2B45-BE4A96F54DAC}"/>
              </a:ext>
            </a:extLst>
          </p:cNvPr>
          <p:cNvSpPr/>
          <p:nvPr/>
        </p:nvSpPr>
        <p:spPr>
          <a:xfrm>
            <a:off x="1175657" y="2764970"/>
            <a:ext cx="1752600" cy="522514"/>
          </a:xfrm>
          <a:prstGeom prst="rect">
            <a:avLst/>
          </a:prstGeom>
          <a:solidFill>
            <a:srgbClr val="A6A7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5A5D6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9BC1501-2514-1812-0788-1A0F09AA0918}"/>
              </a:ext>
            </a:extLst>
          </p:cNvPr>
          <p:cNvSpPr/>
          <p:nvPr/>
        </p:nvSpPr>
        <p:spPr>
          <a:xfrm>
            <a:off x="3058886" y="2144485"/>
            <a:ext cx="1752600" cy="522514"/>
          </a:xfrm>
          <a:prstGeom prst="rect">
            <a:avLst/>
          </a:prstGeom>
          <a:solidFill>
            <a:srgbClr val="4E52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Company Logos from White</a:t>
            </a:r>
          </a:p>
        </p:txBody>
      </p:sp>
    </p:spTree>
    <p:extLst>
      <p:ext uri="{BB962C8B-B14F-4D97-AF65-F5344CB8AC3E}">
        <p14:creationId xmlns:p14="http://schemas.microsoft.com/office/powerpoint/2010/main" val="1801021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5</TotalTime>
  <Words>8</Words>
  <Application>Microsoft Macintosh PowerPoint</Application>
  <PresentationFormat>Widescreen</PresentationFormat>
  <Paragraphs>3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Calibri</vt:lpstr>
      <vt:lpstr>Calibri Light</vt:lpstr>
      <vt:lpstr>Hind</vt:lpstr>
      <vt:lpstr>Office Theme</vt:lpstr>
      <vt:lpstr>think-cell Slid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rdan, Paul</dc:creator>
  <cp:lastModifiedBy>Jordan, Paul</cp:lastModifiedBy>
  <cp:revision>4</cp:revision>
  <dcterms:created xsi:type="dcterms:W3CDTF">2022-08-13T23:39:40Z</dcterms:created>
  <dcterms:modified xsi:type="dcterms:W3CDTF">2022-08-14T16:16:32Z</dcterms:modified>
</cp:coreProperties>
</file>